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90" r:id="rId1"/>
    <p:sldMasterId id="2147483812" r:id="rId2"/>
  </p:sldMasterIdLst>
  <p:notesMasterIdLst>
    <p:notesMasterId r:id="rId4"/>
  </p:notesMasterIdLst>
  <p:handoutMasterIdLst>
    <p:handoutMasterId r:id="rId5"/>
  </p:handoutMasterIdLst>
  <p:sldIdLst>
    <p:sldId id="363" r:id="rId3"/>
  </p:sldIdLst>
  <p:sldSz cx="9144000" cy="6858000" type="screen4x3"/>
  <p:notesSz cx="7010400" cy="9296400"/>
  <p:defaultTextStyle>
    <a:defPPr>
      <a:defRPr lang="en-US"/>
    </a:defPPr>
    <a:lvl1pPr algn="l" defTabSz="457200" rtl="0" eaLnBrk="0" fontAlgn="base" hangingPunct="0">
      <a:lnSpc>
        <a:spcPct val="95000"/>
      </a:lnSpc>
      <a:spcBef>
        <a:spcPct val="60000"/>
      </a:spcBef>
      <a:spcAft>
        <a:spcPct val="0"/>
      </a:spcAft>
      <a:buClr>
        <a:srgbClr val="004C84"/>
      </a:buClr>
      <a:buFont typeface="Arial" charset="0"/>
      <a:buChar char="•"/>
      <a:defRPr sz="20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1pPr>
    <a:lvl2pPr marL="457200" algn="l" defTabSz="457200" rtl="0" eaLnBrk="0" fontAlgn="base" hangingPunct="0">
      <a:lnSpc>
        <a:spcPct val="95000"/>
      </a:lnSpc>
      <a:spcBef>
        <a:spcPct val="60000"/>
      </a:spcBef>
      <a:spcAft>
        <a:spcPct val="0"/>
      </a:spcAft>
      <a:buClr>
        <a:srgbClr val="004C84"/>
      </a:buClr>
      <a:buFont typeface="Arial" charset="0"/>
      <a:buChar char="•"/>
      <a:defRPr sz="20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2pPr>
    <a:lvl3pPr marL="914400" algn="l" defTabSz="457200" rtl="0" eaLnBrk="0" fontAlgn="base" hangingPunct="0">
      <a:lnSpc>
        <a:spcPct val="95000"/>
      </a:lnSpc>
      <a:spcBef>
        <a:spcPct val="60000"/>
      </a:spcBef>
      <a:spcAft>
        <a:spcPct val="0"/>
      </a:spcAft>
      <a:buClr>
        <a:srgbClr val="004C84"/>
      </a:buClr>
      <a:buFont typeface="Arial" charset="0"/>
      <a:buChar char="•"/>
      <a:defRPr sz="20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3pPr>
    <a:lvl4pPr marL="1371600" algn="l" defTabSz="457200" rtl="0" eaLnBrk="0" fontAlgn="base" hangingPunct="0">
      <a:lnSpc>
        <a:spcPct val="95000"/>
      </a:lnSpc>
      <a:spcBef>
        <a:spcPct val="60000"/>
      </a:spcBef>
      <a:spcAft>
        <a:spcPct val="0"/>
      </a:spcAft>
      <a:buClr>
        <a:srgbClr val="004C84"/>
      </a:buClr>
      <a:buFont typeface="Arial" charset="0"/>
      <a:buChar char="•"/>
      <a:defRPr sz="20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4pPr>
    <a:lvl5pPr marL="1828800" algn="l" defTabSz="457200" rtl="0" eaLnBrk="0" fontAlgn="base" hangingPunct="0">
      <a:lnSpc>
        <a:spcPct val="95000"/>
      </a:lnSpc>
      <a:spcBef>
        <a:spcPct val="60000"/>
      </a:spcBef>
      <a:spcAft>
        <a:spcPct val="0"/>
      </a:spcAft>
      <a:buClr>
        <a:srgbClr val="004C84"/>
      </a:buClr>
      <a:buFont typeface="Arial" charset="0"/>
      <a:buChar char="•"/>
      <a:defRPr sz="20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5pPr>
    <a:lvl6pPr marL="2286000" algn="l" defTabSz="457200" rtl="0" eaLnBrk="1" latinLnBrk="0" hangingPunct="1">
      <a:defRPr sz="20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6pPr>
    <a:lvl7pPr marL="2743200" algn="l" defTabSz="457200" rtl="0" eaLnBrk="1" latinLnBrk="0" hangingPunct="1">
      <a:defRPr sz="20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7pPr>
    <a:lvl8pPr marL="3200400" algn="l" defTabSz="457200" rtl="0" eaLnBrk="1" latinLnBrk="0" hangingPunct="1">
      <a:defRPr sz="20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8pPr>
    <a:lvl9pPr marL="3657600" algn="l" defTabSz="457200" rtl="0" eaLnBrk="1" latinLnBrk="0" hangingPunct="1">
      <a:defRPr sz="2000" kern="1200">
        <a:solidFill>
          <a:schemeClr val="tx1"/>
        </a:solidFill>
        <a:latin typeface="Arial" charset="0"/>
        <a:ea typeface="ＭＳ Ｐゴシック" charset="0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d Musisko" initials="E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6A0E7"/>
    <a:srgbClr val="56A0C8"/>
    <a:srgbClr val="70CDE3"/>
    <a:srgbClr val="58595B"/>
    <a:srgbClr val="6A737B"/>
    <a:srgbClr val="BFDF2A"/>
    <a:srgbClr val="000000"/>
    <a:srgbClr val="FEEAE7"/>
    <a:srgbClr val="B0B579"/>
    <a:srgbClr val="EB53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0839" autoAdjust="0"/>
  </p:normalViewPr>
  <p:slideViewPr>
    <p:cSldViewPr snapToGrid="0" snapToObjects="1">
      <p:cViewPr>
        <p:scale>
          <a:sx n="80" d="100"/>
          <a:sy n="80" d="100"/>
        </p:scale>
        <p:origin x="-1074" y="42"/>
      </p:cViewPr>
      <p:guideLst>
        <p:guide orient="horz" pos="4195"/>
        <p:guide pos="27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37146" cy="46474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1655" y="2"/>
            <a:ext cx="3037146" cy="46474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64A38E-822A-1549-B33D-8D51FF7D0B45}" type="datetime1">
              <a:rPr lang="en-US" smtClean="0"/>
              <a:t>6/7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30064"/>
            <a:ext cx="3037146" cy="46474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1655" y="8830064"/>
            <a:ext cx="3037146" cy="46474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77F8F4-48AC-1B4A-996F-65B940B5B2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00200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37146" cy="46474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1655" y="2"/>
            <a:ext cx="3037146" cy="46474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D533AB-1594-3E4B-BE53-609757846628}" type="datetime1">
              <a:rPr lang="en-US" smtClean="0"/>
              <a:t>6/7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6913"/>
            <a:ext cx="4645025" cy="3484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0881" y="4415832"/>
            <a:ext cx="5608640" cy="41826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30064"/>
            <a:ext cx="3037146" cy="46474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1655" y="8830064"/>
            <a:ext cx="3037146" cy="46474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B8F118-327A-434C-836C-F94DD56341F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44020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57066" indent="-291179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64717" indent="-232943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30604" indent="-232943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96491" indent="-232943" eaLnBrk="0" hangingPunct="0"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62377" indent="-232943" algn="ctr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3028264" indent="-232943" algn="ctr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94151" indent="-232943" algn="ctr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960038" indent="-232943" algn="ctr" eaLnBrk="0" fontAlgn="base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fld id="{1C7F05D6-70D4-8F4A-A91C-083F63777B5A}" type="slidenum">
              <a:rPr lang="en-US" sz="1200" b="0"/>
              <a:pPr eaLnBrk="1" hangingPunct="1">
                <a:defRPr/>
              </a:pPr>
              <a:t>1</a:t>
            </a:fld>
            <a:endParaRPr lang="en-US" sz="1200" b="0" dirty="0"/>
          </a:p>
        </p:txBody>
      </p:sp>
      <p:sp>
        <p:nvSpPr>
          <p:cNvPr id="450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060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eaLnBrk="1" hangingPunct="1">
              <a:defRPr/>
            </a:pPr>
            <a:endParaRPr lang="en-US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03804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greens H&amp;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355978" y="6412819"/>
            <a:ext cx="3841107" cy="159523"/>
          </a:xfrm>
        </p:spPr>
        <p:txBody>
          <a:bodyPr/>
          <a:lstStyle/>
          <a:p>
            <a:r>
              <a:rPr lang="en-US" dirty="0" smtClean="0"/>
              <a:t>©2013 Walgreen Co. All rights reserved. </a:t>
            </a:r>
          </a:p>
        </p:txBody>
      </p:sp>
      <p:pic>
        <p:nvPicPr>
          <p:cNvPr id="7" name="Picture 6" descr="Walgreens_Corner-W-Flag_Red-Gradient_t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631934"/>
            <a:ext cx="785520" cy="824191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2279818"/>
            <a:ext cx="7128892" cy="1024245"/>
          </a:xfrm>
        </p:spPr>
        <p:txBody>
          <a:bodyPr rIns="0"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rgbClr val="58595B"/>
                </a:solidFill>
              </a:defRPr>
            </a:lvl1pPr>
          </a:lstStyle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355978" y="3304063"/>
            <a:ext cx="7128892" cy="1151626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rgbClr val="58595B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11" name="Picture 10" descr="Walgreens_HH-CMYK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98" y="5947782"/>
            <a:ext cx="1947672" cy="55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3811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2013 Walgreen Co. All rights reserved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F3FD13-C9FC-F348-8754-7BEB6D09BF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84385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792268" y="6530399"/>
            <a:ext cx="3841107" cy="159523"/>
          </a:xfrm>
        </p:spPr>
        <p:txBody>
          <a:bodyPr/>
          <a:lstStyle/>
          <a:p>
            <a:r>
              <a:rPr lang="en-US" dirty="0" smtClean="0"/>
              <a:t>©2013 Walgreen Co. All rights reserv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F3FD13-C9FC-F348-8754-7BEB6D09BF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600" kern="1200" baseline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</a:lstStyle>
          <a:p>
            <a:pPr defTabSz="457200">
              <a:lnSpc>
                <a:spcPts val="2600"/>
              </a:lnSpc>
              <a:spcBef>
                <a:spcPts val="525"/>
              </a:spcBef>
            </a:pPr>
            <a:r>
              <a:rPr lang="en-US" sz="2200" dirty="0" smtClean="0"/>
              <a:t>Click to edit Master title style</a:t>
            </a:r>
            <a:endParaRPr lang="en-US" sz="220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lnSpc>
                <a:spcPts val="1600"/>
              </a:lnSpc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2" hasCustomPrompt="1"/>
          </p:nvPr>
        </p:nvSpPr>
        <p:spPr>
          <a:xfrm>
            <a:off x="1792288" y="1589088"/>
            <a:ext cx="5486400" cy="31384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2600"/>
              </a:lnSpc>
              <a:spcBef>
                <a:spcPts val="52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r>
              <a:rPr lang="en-US" dirty="0" smtClean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218442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2013 Walgreen Co. All rights reserved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F3FD13-C9FC-F348-8754-7BEB6D09BF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56A0E7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6848" y="1590319"/>
            <a:ext cx="8229952" cy="427222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lang="en-US" b="1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ype chart header / label her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57200" y="2138363"/>
            <a:ext cx="8229600" cy="3987800"/>
          </a:xfrm>
        </p:spPr>
        <p:txBody>
          <a:bodyPr/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7" name="Picture 6" descr="Walgreens_Corner-W-Flag_Red-Gradient_4c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018" y="6421536"/>
            <a:ext cx="327660" cy="343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7232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6" name="Picture 5" descr="Walgreens_CornerOfLockup_4c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198" y="5950144"/>
            <a:ext cx="1947672" cy="556870"/>
          </a:xfrm>
          <a:prstGeom prst="rect">
            <a:avLst/>
          </a:prstGeom>
        </p:spPr>
      </p:pic>
      <p:pic>
        <p:nvPicPr>
          <p:cNvPr id="7" name="Picture 6" descr="Walgreens_Corner-W-Flag_Red-Gradient_tm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631934"/>
            <a:ext cx="785520" cy="824191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2279818"/>
            <a:ext cx="7128892" cy="1024245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of Presentation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3304063"/>
            <a:ext cx="7128892" cy="1151626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5" y="6283205"/>
            <a:ext cx="3891816" cy="365125"/>
          </a:xfrm>
        </p:spPr>
        <p:txBody>
          <a:bodyPr/>
          <a:lstStyle/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34034779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542_corp_background_outlin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978" y="5844760"/>
            <a:ext cx="2030626" cy="449082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355978" y="2279818"/>
            <a:ext cx="7128892" cy="1024245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3304063"/>
            <a:ext cx="7128892" cy="1151626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10" name="Picture 9" descr="Walgreens_Corner-W-Flag_Red-Gradient_tm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631934"/>
            <a:ext cx="785520" cy="824191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59695" y="6283205"/>
            <a:ext cx="3891816" cy="365125"/>
          </a:xfrm>
        </p:spPr>
        <p:txBody>
          <a:bodyPr/>
          <a:lstStyle/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95848794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IGHT_SP_BUI_LockUp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796" y="5789122"/>
            <a:ext cx="4553712" cy="457200"/>
          </a:xfrm>
          <a:prstGeom prst="rect">
            <a:avLst/>
          </a:prstGeom>
        </p:spPr>
      </p:pic>
      <p:pic>
        <p:nvPicPr>
          <p:cNvPr id="6" name="Picture 5" descr="542_corp_background_outlin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2279818"/>
            <a:ext cx="7128892" cy="1024245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6A737B"/>
                </a:solidFill>
              </a:rPr>
              <a:t>Title Slide for Walgreens Entities that Have “Walgreens” in the Logo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355978" y="3304063"/>
            <a:ext cx="7128892" cy="1151626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9" name="Picture 8" descr="Walgreens_Corner-W-Flag_Red-Gradient_tm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631934"/>
            <a:ext cx="785520" cy="824191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1296685" y="5876348"/>
            <a:ext cx="3891816" cy="365125"/>
          </a:xfrm>
        </p:spPr>
        <p:txBody>
          <a:bodyPr/>
          <a:lstStyle/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60041026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2525414"/>
            <a:ext cx="8695764" cy="1024245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5084510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368-green_corp_bckgrd_outlin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2525414"/>
            <a:ext cx="8695764" cy="1024245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5935438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rang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2525414"/>
            <a:ext cx="8695764" cy="1024245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8459730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0920" y="180753"/>
            <a:ext cx="8135880" cy="86193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50920" y="1409706"/>
            <a:ext cx="8135880" cy="47066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>
                <a:solidFill>
                  <a:srgbClr val="6A737B"/>
                </a:solidFill>
              </a:defRPr>
            </a:lvl2pPr>
            <a:lvl3pPr>
              <a:defRPr>
                <a:solidFill>
                  <a:srgbClr val="6A737B"/>
                </a:solidFill>
              </a:defRPr>
            </a:lvl3pPr>
            <a:lvl4pPr>
              <a:defRPr>
                <a:solidFill>
                  <a:srgbClr val="6A737B"/>
                </a:solidFill>
              </a:defRPr>
            </a:lvl4pPr>
            <a:lvl5pPr>
              <a:defRPr>
                <a:solidFill>
                  <a:srgbClr val="6A737B"/>
                </a:solidFill>
              </a:defRPr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6406495"/>
            <a:ext cx="38918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6413300"/>
            <a:ext cx="69716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15432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green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978" y="5844760"/>
            <a:ext cx="2030626" cy="44908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355978" y="2279818"/>
            <a:ext cx="7128892" cy="1024245"/>
          </a:xfrm>
        </p:spPr>
        <p:txBody>
          <a:bodyPr r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58595B"/>
                </a:solidFill>
              </a:defRPr>
            </a:lvl1pPr>
          </a:lstStyle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355978" y="3304063"/>
            <a:ext cx="7128892" cy="1151626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9" name="Picture 8" descr="Walgreens_Corner-W-Flag_Red-Gradient_tm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631934"/>
            <a:ext cx="785520" cy="824191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355978" y="6412819"/>
            <a:ext cx="3841107" cy="159523"/>
          </a:xfrm>
        </p:spPr>
        <p:txBody>
          <a:bodyPr/>
          <a:lstStyle/>
          <a:p>
            <a:r>
              <a:rPr lang="en-US" dirty="0" smtClean="0"/>
              <a:t>©2013 Walgreen Co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087612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50918" y="1422400"/>
            <a:ext cx="3944881" cy="4703763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228600" indent="-2286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422400"/>
            <a:ext cx="4038600" cy="4703763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50920" y="180753"/>
            <a:ext cx="8135880" cy="86193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6406495"/>
            <a:ext cx="38918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6413300"/>
            <a:ext cx="69716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51863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50918" y="1416931"/>
            <a:ext cx="3946470" cy="323667"/>
          </a:xfrm>
        </p:spPr>
        <p:txBody>
          <a:bodyPr anchor="b">
            <a:normAutofit/>
          </a:bodyPr>
          <a:lstStyle>
            <a:lvl1pPr marL="0" indent="0">
              <a:buNone/>
              <a:defRPr sz="2200" b="1">
                <a:solidFill>
                  <a:srgbClr val="6A737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Type content header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5" y="1416931"/>
            <a:ext cx="4041775" cy="323667"/>
          </a:xfrm>
        </p:spPr>
        <p:txBody>
          <a:bodyPr anchor="b">
            <a:normAutofit/>
          </a:bodyPr>
          <a:lstStyle>
            <a:lvl1pPr marL="0" indent="0">
              <a:buNone/>
              <a:defRPr sz="2200" b="1">
                <a:solidFill>
                  <a:srgbClr val="6A737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Type content header her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550920" y="180753"/>
            <a:ext cx="8135880" cy="86193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50918" y="1820338"/>
            <a:ext cx="3944881" cy="4317995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 marL="342900" indent="-342900">
              <a:buFont typeface="Arial"/>
              <a:buChar char="•"/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820338"/>
            <a:ext cx="4038600" cy="4317995"/>
          </a:xfrm>
        </p:spPr>
        <p:txBody>
          <a:bodyPr vert="horz" lIns="0" tIns="0" rIns="0" bIns="0" rtlCol="0">
            <a:normAutofit/>
          </a:bodyPr>
          <a:lstStyle>
            <a:lvl1pPr>
              <a:defRPr lang="en-US" sz="2000" smtClean="0"/>
            </a:lvl1pPr>
            <a:lvl2pPr>
              <a:defRPr lang="en-US" sz="2200" smtClean="0">
                <a:solidFill>
                  <a:srgbClr val="6A737B"/>
                </a:solidFill>
              </a:defRPr>
            </a:lvl2pPr>
            <a:lvl3pPr>
              <a:defRPr lang="en-US" sz="2000" smtClean="0">
                <a:solidFill>
                  <a:srgbClr val="6A737B"/>
                </a:solidFill>
              </a:defRPr>
            </a:lvl3pPr>
            <a:lvl4pPr marL="731520" indent="-182880">
              <a:buFont typeface="Lucida Grande"/>
              <a:buChar char="»"/>
              <a:defRPr lang="en-US" sz="1800" smtClean="0">
                <a:solidFill>
                  <a:srgbClr val="6A737B"/>
                </a:solidFill>
              </a:defRPr>
            </a:lvl4pPr>
            <a:lvl5pPr marL="960120" indent="-228600">
              <a:buFont typeface="Arial"/>
              <a:buChar char="•"/>
              <a:defRPr lang="en-US" sz="1600">
                <a:solidFill>
                  <a:srgbClr val="6A737B"/>
                </a:solidFill>
              </a:defRPr>
            </a:lvl5pPr>
          </a:lstStyle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852804" y="6406495"/>
            <a:ext cx="38918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6413300"/>
            <a:ext cx="69716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4017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50920" y="180753"/>
            <a:ext cx="8135880" cy="86193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6406495"/>
            <a:ext cx="38918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6413300"/>
            <a:ext cx="69716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49525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 lang="en-US">
                <a:solidFill>
                  <a:schemeClr val="tx2"/>
                </a:solidFill>
              </a:defRPr>
            </a:lvl1pPr>
          </a:lstStyle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588957"/>
            <a:ext cx="5486400" cy="3138618"/>
          </a:xfrm>
        </p:spPr>
        <p:txBody>
          <a:bodyPr>
            <a:normAutofit/>
          </a:bodyPr>
          <a:lstStyle>
            <a:lvl1pPr marL="0" indent="0">
              <a:buNone/>
              <a:defRPr sz="2600">
                <a:solidFill>
                  <a:schemeClr val="tx2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Placeholder 1"/>
          <p:cNvSpPr txBox="1">
            <a:spLocks/>
          </p:cNvSpPr>
          <p:nvPr/>
        </p:nvSpPr>
        <p:spPr>
          <a:xfrm>
            <a:off x="550920" y="180753"/>
            <a:ext cx="8135880" cy="86193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400" kern="1200" baseline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 defTabSz="457200">
              <a:lnSpc>
                <a:spcPct val="100000"/>
              </a:lnSpc>
              <a:buClrTx/>
              <a:buFontTx/>
              <a:buNone/>
            </a:pPr>
            <a:r>
              <a:rPr b="1" dirty="0" smtClean="0">
                <a:solidFill>
                  <a:srgbClr val="FFFFFF"/>
                </a:solidFill>
              </a:rPr>
              <a:t>Type key insight here using sentence case</a:t>
            </a:r>
            <a:endParaRPr b="1" dirty="0">
              <a:solidFill>
                <a:srgbClr val="FFFFFF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6406495"/>
            <a:ext cx="38918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</a:t>
            </a: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6413300"/>
            <a:ext cx="69716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054483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50920" y="1131757"/>
            <a:ext cx="8143351" cy="427222"/>
          </a:xfrm>
        </p:spPr>
        <p:txBody>
          <a:bodyPr vert="horz" lIns="0" tIns="0" rIns="0" bIns="0" rtlCol="0" anchor="b">
            <a:normAutofit/>
          </a:bodyPr>
          <a:lstStyle>
            <a:lvl1pPr>
              <a:defRPr lang="en-US" b="1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Type chart header / label her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550920" y="180753"/>
            <a:ext cx="8135880" cy="86193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 algn="l" defTabSz="45720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550920" y="1679708"/>
            <a:ext cx="8135880" cy="440259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 sz="22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 marL="731520" indent="-182880">
              <a:buFont typeface="Lucida Grande"/>
              <a:buChar char="»"/>
              <a:defRPr sz="1800">
                <a:solidFill>
                  <a:schemeClr val="tx2"/>
                </a:solidFill>
              </a:defRPr>
            </a:lvl4pPr>
            <a:lvl5pPr marL="960120" indent="-228600">
              <a:buFont typeface="Arial"/>
              <a:buChar char="•"/>
              <a:defRPr>
                <a:solidFill>
                  <a:schemeClr val="tx2"/>
                </a:solidFill>
              </a:defRPr>
            </a:lvl5pPr>
          </a:lstStyle>
          <a:p>
            <a:pPr lvl="0" defTabSz="457200">
              <a:buFont typeface="Arial"/>
            </a:pPr>
            <a:r>
              <a:rPr lang="en-US" smtClean="0"/>
              <a:t>Click to edit Master text styles</a:t>
            </a:r>
          </a:p>
          <a:p>
            <a:pPr lvl="1" defTabSz="457200">
              <a:buFont typeface="Arial"/>
            </a:pPr>
            <a:r>
              <a:rPr lang="en-US" smtClean="0"/>
              <a:t>Second level</a:t>
            </a:r>
          </a:p>
          <a:p>
            <a:pPr lvl="2" defTabSz="457200">
              <a:buFont typeface="Arial"/>
            </a:pPr>
            <a:r>
              <a:rPr lang="en-US" smtClean="0"/>
              <a:t>Third level</a:t>
            </a:r>
          </a:p>
          <a:p>
            <a:pPr lvl="3" defTabSz="457200">
              <a:buFont typeface="Arial"/>
            </a:pPr>
            <a:r>
              <a:rPr lang="en-US" smtClean="0"/>
              <a:t>Fourth level</a:t>
            </a:r>
          </a:p>
        </p:txBody>
      </p:sp>
      <p:pic>
        <p:nvPicPr>
          <p:cNvPr id="10" name="Picture 9" descr="Walgreens_Corner-W-Flag_Red-Gradient_4c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6400800"/>
            <a:ext cx="327660" cy="343792"/>
          </a:xfrm>
          <a:prstGeom prst="rect">
            <a:avLst/>
          </a:prstGeom>
        </p:spPr>
      </p:pic>
      <p:sp>
        <p:nvSpPr>
          <p:cNvPr id="1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4" y="6406495"/>
            <a:ext cx="38918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</a:rPr>
              <a:t>©2013 Walgreen Co. All rights reserved.</a:t>
            </a: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6413300"/>
            <a:ext cx="69716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9DB927-419E-B042-83CD-6E94FB32D87D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183917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lue Divider - No Ta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81708" y="3310529"/>
            <a:ext cx="7281292" cy="1024245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1481708" y="4334774"/>
            <a:ext cx="7281292" cy="1151626"/>
          </a:xfrm>
        </p:spPr>
        <p:txBody>
          <a:bodyPr vert="horz" lIns="9144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bg1"/>
                </a:solidFill>
                <a:latin typeface="Helvetica 65 Medium" pitchFamily="34" charset="0"/>
                <a:ea typeface="+mj-ea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776622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7726671"/>
              </p:ext>
            </p:extLst>
          </p:nvPr>
        </p:nvGraphicFramePr>
        <p:xfrm>
          <a:off x="1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4" name="think-cell Slide" r:id="rId7" imgW="381" imgH="381" progId="TCLayout.ActiveDocument.1">
                  <p:embed/>
                </p:oleObj>
              </mc:Choice>
              <mc:Fallback>
                <p:oleObj name="think-cell Slide" r:id="rId7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" y="1"/>
                        <a:ext cx="158751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66846" y="452130"/>
            <a:ext cx="8614996" cy="70459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265237" y="1291760"/>
            <a:ext cx="8316057" cy="4886790"/>
          </a:xfrm>
          <a:prstGeom prst="rect">
            <a:avLst/>
          </a:prstGeom>
        </p:spPr>
        <p:txBody>
          <a:bodyPr/>
          <a:lstStyle>
            <a:lvl1pPr marL="274320" marR="0" indent="-27432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D16349"/>
              </a:buClr>
              <a:buSzPct val="85000"/>
              <a:buFont typeface="Wingdings 2"/>
              <a:buChar char=""/>
              <a:tabLst/>
              <a:defRPr/>
            </a:lvl1pPr>
            <a:lvl2pPr marL="548640" marR="0" indent="-27432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CB400"/>
              </a:buClr>
              <a:buSzPct val="70000"/>
              <a:buFont typeface="Wingdings"/>
              <a:buChar char=""/>
              <a:tabLst/>
              <a:defRPr/>
            </a:lvl2pPr>
            <a:lvl3pPr marL="82296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CADAE"/>
              </a:buClr>
              <a:buSzPct val="75000"/>
              <a:buFont typeface="Wingdings 2"/>
              <a:buChar char=""/>
              <a:tabLst/>
              <a:defRPr/>
            </a:lvl3pPr>
            <a:lvl4pPr marL="109728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C7B70"/>
              </a:buClr>
              <a:buSzPct val="70000"/>
              <a:buFont typeface="Wingdings"/>
              <a:buChar char=""/>
              <a:tabLst/>
              <a:defRPr/>
            </a:lvl4pPr>
            <a:lvl5pPr marL="1371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FB08C"/>
              </a:buClr>
              <a:buSzTx/>
              <a:buFontTx/>
              <a:buChar char="•"/>
              <a:tabLst/>
              <a:defRPr/>
            </a:lvl5pPr>
          </a:lstStyle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D16349"/>
              </a:buClr>
              <a:buSzPct val="85000"/>
              <a:buFont typeface="Wingdings 2"/>
              <a:buChar char=""/>
              <a:tabLst/>
              <a:defRPr/>
            </a:pPr>
            <a:r>
              <a:rPr kumimoji="0" lang="en-US" sz="2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lick to edit Master text styles</a:t>
            </a:r>
          </a:p>
          <a:p>
            <a:pPr marL="548640" marR="0" lvl="1" indent="-27432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CB400"/>
              </a:buClr>
              <a:buSzPct val="70000"/>
              <a:buFont typeface="Wingdings"/>
              <a:buChar char=""/>
              <a:tabLst/>
              <a:defRPr/>
            </a:pPr>
            <a: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46B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econd level</a:t>
            </a:r>
          </a:p>
          <a:p>
            <a:pPr marL="822960" marR="0" lvl="2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CADAE"/>
              </a:buClr>
              <a:buSzPct val="75000"/>
              <a:buFont typeface="Wingdings 2"/>
              <a:buChar char="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hird level</a:t>
            </a:r>
          </a:p>
          <a:p>
            <a:pPr marL="1097280" marR="0" lvl="3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C7B70"/>
              </a:buClr>
              <a:buSzPct val="70000"/>
              <a:buFont typeface="Wingdings"/>
              <a:buChar char="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46B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Fourth level</a:t>
            </a:r>
          </a:p>
          <a:p>
            <a:pPr marL="1371600" marR="0" lvl="4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8FB08C"/>
              </a:buClr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Fifth level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 userDrawn="1">
            <p:custDataLst>
              <p:tags r:id="rId5"/>
            </p:custDataLst>
          </p:nvPr>
        </p:nvSpPr>
        <p:spPr>
          <a:xfrm>
            <a:off x="-7799" y="6482201"/>
            <a:ext cx="45798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fld id="{EB3144D7-96C3-44A9-929A-7F1414AC8B92}" type="slidenum">
              <a:rPr lang="en-US" sz="1000">
                <a:solidFill>
                  <a:srgbClr val="FFFFFF"/>
                </a:solidFill>
                <a:latin typeface="Arial"/>
              </a:rPr>
              <a:pPr defTabSz="914400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t>‹#›</a:t>
            </a:fld>
            <a:endParaRPr lang="en-US" sz="10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69480" y="158750"/>
            <a:ext cx="6616091" cy="2170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00">
                <a:latin typeface="Century Gothic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0325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Green Divider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1481708" y="4334774"/>
            <a:ext cx="7281292" cy="1151626"/>
          </a:xfrm>
        </p:spPr>
        <p:txBody>
          <a:bodyPr vert="horz" lIns="9144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chemeClr val="bg1"/>
                </a:solidFill>
                <a:latin typeface="Helvetica 65 Medium" pitchFamily="34" charset="0"/>
                <a:ea typeface="+mj-ea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81708" y="3310529"/>
            <a:ext cx="7281292" cy="1024245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190508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 THI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0200" y="609600"/>
            <a:ext cx="7010400" cy="457200"/>
          </a:xfrm>
        </p:spPr>
        <p:txBody>
          <a:bodyPr anchor="t">
            <a:normAutofit/>
          </a:bodyPr>
          <a:lstStyle>
            <a:lvl1pPr algn="l">
              <a:defRPr sz="24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/>
              </a:defRPr>
            </a:lvl1pPr>
          </a:lstStyle>
          <a:p>
            <a:fld id="{34E77350-528F-4283-8D5B-F95CC7A1D3F9}" type="slidenum">
              <a:rPr lang="en-US" smtClean="0">
                <a:solidFill>
                  <a:srgbClr val="000000">
                    <a:tint val="75000"/>
                  </a:srgbClr>
                </a:solidFill>
                <a:cs typeface="Arial" pitchFamily="34" charset="0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cs typeface="Arial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914400" y="1295400"/>
            <a:ext cx="7772400" cy="441960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73E97"/>
              </a:buClr>
              <a:buFont typeface="Arial" pitchFamily="34" charset="0"/>
              <a:buChar char="•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742950" indent="-285750">
              <a:buClr>
                <a:srgbClr val="E73E97"/>
              </a:buClr>
              <a:buFont typeface="Arial" pitchFamily="34" charset="0"/>
              <a:buChar char="•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1143000" indent="-228600">
              <a:buClr>
                <a:srgbClr val="E73E97"/>
              </a:buClr>
              <a:buFont typeface="Arial" pitchFamily="34" charset="0"/>
              <a:buChar char="•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Clr>
                <a:srgbClr val="E73E97"/>
              </a:buClr>
              <a:buFont typeface="Arial" pitchFamily="34" charset="0"/>
              <a:buChar char="•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2057400" indent="-228600">
              <a:buClr>
                <a:srgbClr val="E73E97"/>
              </a:buClr>
              <a:buFont typeface="Arial" pitchFamily="34" charset="0"/>
              <a:buChar char="•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304800" y="5988050"/>
            <a:ext cx="8610600" cy="26035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113094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lgreens S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RIGHT_SP_BUI_LockUp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796" y="5789122"/>
            <a:ext cx="4553712" cy="457200"/>
          </a:xfrm>
          <a:prstGeom prst="rect">
            <a:avLst/>
          </a:prstGeom>
        </p:spPr>
      </p:pic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327060" y="5907225"/>
            <a:ext cx="3841107" cy="242340"/>
          </a:xfrm>
        </p:spPr>
        <p:txBody>
          <a:bodyPr/>
          <a:lstStyle/>
          <a:p>
            <a:r>
              <a:rPr lang="en-US" dirty="0" smtClean="0"/>
              <a:t>©2013 Walgreen Co. All rights reserved. 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355978" y="3304063"/>
            <a:ext cx="7128892" cy="1151626"/>
          </a:xfrm>
        </p:spPr>
        <p:txBody>
          <a:bodyPr vert="horz" lIns="0" tIns="45720" rIns="91440" bIns="4572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en-US" sz="2200" dirty="0" smtClean="0">
                <a:solidFill>
                  <a:srgbClr val="58595B"/>
                </a:solidFill>
                <a:latin typeface="Arial"/>
                <a:ea typeface="+mj-ea"/>
                <a:cs typeface="Arial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r>
              <a:rPr lang="en-US" dirty="0" smtClean="0"/>
              <a:t>Presenter Name or Subtopic Here</a:t>
            </a:r>
            <a:br>
              <a:rPr lang="en-US" dirty="0" smtClean="0"/>
            </a:br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8" name="Picture 7" descr="Walgreens_Corner-W-Flag_Red-Gradient_tm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828" y="1631934"/>
            <a:ext cx="785520" cy="82419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55978" y="2278200"/>
            <a:ext cx="7128892" cy="927877"/>
          </a:xfrm>
        </p:spPr>
        <p:txBody>
          <a:bodyPr rIns="0" anchor="t" anchorCtr="0"/>
          <a:lstStyle>
            <a:lvl1pPr>
              <a:defRPr sz="3200">
                <a:solidFill>
                  <a:srgbClr val="58595B"/>
                </a:solidFill>
              </a:defRPr>
            </a:lvl1pPr>
          </a:lstStyle>
          <a:p>
            <a:r>
              <a:rPr lang="en-US" dirty="0" smtClean="0"/>
              <a:t>Title Slide for Walgreens Entities that Have “Walgreens” in the Log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413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542_corp_backgroun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2525414"/>
            <a:ext cx="8695764" cy="1024245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rgbClr val="58595B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5865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368-green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2525414"/>
            <a:ext cx="8695764" cy="1024245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rgbClr val="58595B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5445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rang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716-orange_corp_bckgrd_outlin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24118" y="2525414"/>
            <a:ext cx="8695764" cy="1024245"/>
          </a:xfr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 b="1">
                <a:solidFill>
                  <a:srgbClr val="58595B"/>
                </a:solidFill>
              </a:defRPr>
            </a:lvl1pPr>
          </a:lstStyle>
          <a:p>
            <a:r>
              <a:rPr lang="en-US" dirty="0" smtClean="0"/>
              <a:t>Section Divider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7352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2013 Walgreen Co. All rights reserved. 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F3FD13-C9FC-F348-8754-7BEB6D09BF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2" hasCustomPrompt="1"/>
          </p:nvPr>
        </p:nvSpPr>
        <p:spPr>
          <a:xfrm>
            <a:off x="457200" y="1589143"/>
            <a:ext cx="8229600" cy="4537020"/>
          </a:xfrm>
        </p:spPr>
        <p:txBody>
          <a:bodyPr/>
          <a:lstStyle>
            <a:lvl1pPr>
              <a:defRPr>
                <a:solidFill>
                  <a:srgbClr val="58595B"/>
                </a:solidFill>
              </a:defRPr>
            </a:lvl1pPr>
            <a:lvl2pPr>
              <a:defRPr>
                <a:solidFill>
                  <a:srgbClr val="58595B"/>
                </a:solidFill>
              </a:defRPr>
            </a:lvl2pPr>
            <a:lvl3pPr>
              <a:defRPr>
                <a:solidFill>
                  <a:srgbClr val="58595B"/>
                </a:solidFill>
              </a:defRPr>
            </a:lvl3pPr>
            <a:lvl4pPr>
              <a:defRPr>
                <a:solidFill>
                  <a:srgbClr val="58595B"/>
                </a:solidFill>
              </a:defRPr>
            </a:lvl4pPr>
            <a:lvl5pPr>
              <a:defRPr>
                <a:solidFill>
                  <a:srgbClr val="58595B"/>
                </a:solidFill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9602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2013 Walgreen Co. All rights reserved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F3FD13-C9FC-F348-8754-7BEB6D09BF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57200" y="1589143"/>
            <a:ext cx="3944881" cy="4537020"/>
          </a:xfrm>
        </p:spPr>
        <p:txBody>
          <a:bodyPr/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648200" y="1589143"/>
            <a:ext cx="4038600" cy="4537020"/>
          </a:xfrm>
        </p:spPr>
        <p:txBody>
          <a:bodyPr/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20431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Conten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©2013 Walgreen Co. All rights reserved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F3FD13-C9FC-F348-8754-7BEB6D09BF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57200" y="2069452"/>
            <a:ext cx="3944881" cy="4056710"/>
          </a:xfrm>
        </p:spPr>
        <p:txBody>
          <a:bodyPr/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648200" y="2069452"/>
            <a:ext cx="4038600" cy="4056710"/>
          </a:xfrm>
        </p:spPr>
        <p:txBody>
          <a:bodyPr/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589143"/>
            <a:ext cx="3944938" cy="362726"/>
          </a:xfrm>
        </p:spPr>
        <p:txBody>
          <a:bodyPr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600"/>
              </a:lnSpc>
              <a:spcBef>
                <a:spcPts val="52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1"/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52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Type content header he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648200" y="1583696"/>
            <a:ext cx="4038600" cy="362726"/>
          </a:xfrm>
        </p:spPr>
        <p:txBody>
          <a:bodyPr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600"/>
              </a:lnSpc>
              <a:spcBef>
                <a:spcPts val="52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1"/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525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Type content header here</a:t>
            </a:r>
          </a:p>
        </p:txBody>
      </p:sp>
    </p:spTree>
    <p:extLst>
      <p:ext uri="{BB962C8B-B14F-4D97-AF65-F5344CB8AC3E}">
        <p14:creationId xmlns:p14="http://schemas.microsoft.com/office/powerpoint/2010/main" val="29402252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ntent-header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143000"/>
          </a:xfrm>
          <a:prstGeom prst="rect">
            <a:avLst/>
          </a:prstGeom>
        </p:spPr>
      </p:pic>
      <p:pic>
        <p:nvPicPr>
          <p:cNvPr id="9" name="Picture 8" descr="Walgreens_Corner-W-Flag_Red-Gradient_4c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018" y="6421536"/>
            <a:ext cx="327660" cy="343792"/>
          </a:xfrm>
          <a:prstGeom prst="rect">
            <a:avLst/>
          </a:prstGeom>
        </p:spPr>
      </p:pic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457200" y="160694"/>
            <a:ext cx="8229600" cy="927877"/>
          </a:xfrm>
          <a:prstGeom prst="rect">
            <a:avLst/>
          </a:prstGeom>
        </p:spPr>
        <p:txBody>
          <a:bodyPr vert="horz" lIns="0" tIns="0" rIns="91440" bIns="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792268" y="6530399"/>
            <a:ext cx="3841107" cy="159523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buNone/>
              <a:defRPr sz="800">
                <a:solidFill>
                  <a:srgbClr val="58595B"/>
                </a:solidFill>
              </a:defRPr>
            </a:lvl1pPr>
          </a:lstStyle>
          <a:p>
            <a:r>
              <a:rPr lang="en-US" dirty="0" smtClean="0"/>
              <a:t>©2013 Walgreen Co. All rights reserved.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6553200" y="6529804"/>
            <a:ext cx="2133600" cy="1740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rgbClr val="58595B"/>
                </a:solidFill>
              </a:defRPr>
            </a:lvl1pPr>
          </a:lstStyle>
          <a:p>
            <a:fld id="{8EF3FD13-C9FC-F348-8754-7BEB6D09BF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5915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4" r:id="rId5"/>
    <p:sldLayoutId id="2147483810" r:id="rId6"/>
    <p:sldLayoutId id="2147483798" r:id="rId7"/>
    <p:sldLayoutId id="2147483805" r:id="rId8"/>
    <p:sldLayoutId id="2147483806" r:id="rId9"/>
    <p:sldLayoutId id="2147483807" r:id="rId10"/>
    <p:sldLayoutId id="2147483808" r:id="rId11"/>
    <p:sldLayoutId id="2147483809" r:id="rId12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lnSpc>
          <a:spcPts val="2600"/>
        </a:lnSpc>
        <a:spcBef>
          <a:spcPts val="525"/>
        </a:spcBef>
        <a:buFont typeface="Arial"/>
        <a:buChar char="•"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741363" indent="-398463" algn="l" defTabSz="914400" rtl="0" eaLnBrk="1" latinLnBrk="0" hangingPunct="1">
        <a:lnSpc>
          <a:spcPts val="2400"/>
        </a:lnSpc>
        <a:spcBef>
          <a:spcPts val="525"/>
        </a:spcBef>
        <a:buFont typeface="Lucida Grande"/>
        <a:buChar char="—"/>
        <a:defRPr lang="en-US" sz="2000" kern="1200" smtClean="0">
          <a:solidFill>
            <a:srgbClr val="58595B"/>
          </a:solidFill>
          <a:latin typeface="Arial"/>
          <a:ea typeface="+mn-ea"/>
          <a:cs typeface="Arial"/>
        </a:defRPr>
      </a:lvl2pPr>
      <a:lvl3pPr marL="976313" indent="-234950" algn="l" defTabSz="914400" rtl="0" eaLnBrk="1" latinLnBrk="0" hangingPunct="1">
        <a:lnSpc>
          <a:spcPts val="2200"/>
        </a:lnSpc>
        <a:spcBef>
          <a:spcPts val="525"/>
        </a:spcBef>
        <a:buFont typeface="Lucida Grande"/>
        <a:buChar char="»"/>
        <a:defRPr lang="en-US" sz="1800" kern="1200" smtClean="0">
          <a:solidFill>
            <a:srgbClr val="58595B"/>
          </a:solidFill>
          <a:latin typeface="Arial"/>
          <a:ea typeface="+mn-ea"/>
          <a:cs typeface="Arial"/>
        </a:defRPr>
      </a:lvl3pPr>
      <a:lvl4pPr marL="1200150" indent="-223838" algn="l" defTabSz="914400" rtl="0" eaLnBrk="1" latinLnBrk="0" hangingPunct="1">
        <a:lnSpc>
          <a:spcPts val="2000"/>
        </a:lnSpc>
        <a:spcBef>
          <a:spcPts val="525"/>
        </a:spcBef>
        <a:buFont typeface="Arial"/>
        <a:buChar char="•"/>
        <a:defRPr lang="en-US" sz="1600" kern="1200" smtClean="0">
          <a:solidFill>
            <a:srgbClr val="58595B"/>
          </a:solidFill>
          <a:latin typeface="Arial"/>
          <a:ea typeface="+mn-ea"/>
          <a:cs typeface="Arial"/>
        </a:defRPr>
      </a:lvl4pPr>
      <a:lvl5pPr marL="1435100" indent="-234950" algn="l" defTabSz="914400" rtl="0" eaLnBrk="1" latinLnBrk="0" hangingPunct="1">
        <a:lnSpc>
          <a:spcPts val="1800"/>
        </a:lnSpc>
        <a:spcBef>
          <a:spcPts val="525"/>
        </a:spcBef>
        <a:buFont typeface="Arial"/>
        <a:buChar char="•"/>
        <a:defRPr lang="en-US" sz="1400" kern="1200">
          <a:solidFill>
            <a:srgbClr val="58595B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ntent-header.png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143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0920" y="1409706"/>
            <a:ext cx="8135880" cy="47066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1" defTabSz="457200">
              <a:buFont typeface="Arial"/>
            </a:pPr>
            <a:r>
              <a:rPr lang="en-US" dirty="0" smtClean="0"/>
              <a:t>First level</a:t>
            </a:r>
          </a:p>
          <a:p>
            <a:pPr lvl="2" defTabSz="457200">
              <a:buFont typeface="Arial"/>
            </a:pPr>
            <a:r>
              <a:rPr lang="en-US" dirty="0" smtClean="0"/>
              <a:t>Second level</a:t>
            </a:r>
          </a:p>
          <a:p>
            <a:pPr lvl="3" defTabSz="457200">
              <a:buFont typeface="Arial"/>
            </a:pPr>
            <a:r>
              <a:rPr lang="en-US" dirty="0" smtClean="0"/>
              <a:t>Third level</a:t>
            </a:r>
          </a:p>
          <a:p>
            <a:pPr lvl="4" defTabSz="457200">
              <a:buFont typeface="Arial"/>
            </a:pPr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50920" y="168053"/>
            <a:ext cx="8135880" cy="86193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 algn="l" defTabSz="457200"/>
            <a:r>
              <a:rPr lang="en-US" dirty="0" smtClean="0"/>
              <a:t>Type key insight here using sentence case</a:t>
            </a:r>
            <a:endParaRPr lang="en-US" dirty="0"/>
          </a:p>
        </p:txBody>
      </p:sp>
      <p:pic>
        <p:nvPicPr>
          <p:cNvPr id="9" name="Picture 8" descr="Walgreens_Corner-W-Flag_Red-Gradient_4c.png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20" y="6400800"/>
            <a:ext cx="327660" cy="343792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52805" y="6406495"/>
            <a:ext cx="38918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0" fontAlgn="base" latinLnBrk="0" hangingPunct="0">
              <a:lnSpc>
                <a:spcPct val="95000"/>
              </a:lnSpc>
              <a:spcBef>
                <a:spcPct val="60000"/>
              </a:spcBef>
              <a:spcAft>
                <a:spcPct val="0"/>
              </a:spcAft>
              <a:buClr>
                <a:srgbClr val="004C84"/>
              </a:buClr>
              <a:buSzTx/>
              <a:buFont typeface="Arial" charset="0"/>
              <a:buNone/>
              <a:tabLst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b="1" dirty="0" smtClean="0">
                <a:solidFill>
                  <a:srgbClr val="000000">
                    <a:tint val="75000"/>
                  </a:srgbClr>
                </a:solidFill>
                <a:latin typeface="Arial"/>
              </a:rPr>
              <a:t>©2013 Walgreen Co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7989634" y="6413300"/>
            <a:ext cx="69716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/>
            </a:pPr>
            <a:fld id="{EB3144D7-96C3-44A9-929A-7F1414AC8B92}" type="slidenum">
              <a:rPr lang="en-US" b="1" smtClean="0">
                <a:solidFill>
                  <a:srgbClr val="000000">
                    <a:tint val="75000"/>
                  </a:srgbClr>
                </a:solidFill>
                <a:latin typeface="Arial"/>
              </a:rPr>
              <a:pPr defTabSz="914400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t>‹#›</a:t>
            </a:fld>
            <a:endParaRPr lang="en-US" b="1" dirty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2327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  <p:sldLayoutId id="2147483826" r:id="rId14"/>
    <p:sldLayoutId id="2147483827" r:id="rId15"/>
    <p:sldLayoutId id="2147483828" r:id="rId1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lang="en-US" sz="2600" kern="1200" baseline="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528"/>
        </a:spcBef>
        <a:buFont typeface="Arial" pitchFamily="34" charset="0"/>
        <a:buNone/>
        <a:defRPr lang="en-US" sz="2200" kern="1200" smtClean="0">
          <a:solidFill>
            <a:srgbClr val="58595B"/>
          </a:solidFill>
          <a:latin typeface="Arial"/>
          <a:ea typeface="+mn-ea"/>
          <a:cs typeface="Arial"/>
        </a:defRPr>
      </a:lvl1pPr>
      <a:lvl2pPr marL="228600" indent="-228600" algn="l" defTabSz="914400" rtl="0" eaLnBrk="1" latinLnBrk="0" hangingPunct="1">
        <a:lnSpc>
          <a:spcPts val="2600"/>
        </a:lnSpc>
        <a:spcBef>
          <a:spcPts val="525"/>
        </a:spcBef>
        <a:buFont typeface="Arial"/>
        <a:buChar char="•"/>
        <a:defRPr lang="en-US" sz="2200" kern="1200" smtClean="0">
          <a:solidFill>
            <a:schemeClr val="tx2"/>
          </a:solidFill>
          <a:latin typeface="Arial"/>
          <a:ea typeface="+mn-ea"/>
          <a:cs typeface="Arial"/>
        </a:defRPr>
      </a:lvl2pPr>
      <a:lvl3pPr marL="548640" indent="-182880" algn="l" defTabSz="914400" rtl="0" eaLnBrk="1" latinLnBrk="0" hangingPunct="1">
        <a:lnSpc>
          <a:spcPts val="2400"/>
        </a:lnSpc>
        <a:spcBef>
          <a:spcPts val="525"/>
        </a:spcBef>
        <a:buFont typeface="Arial" pitchFamily="34" charset="0"/>
        <a:buChar char="̶"/>
        <a:defRPr lang="en-US" sz="2000" kern="1200" smtClean="0">
          <a:solidFill>
            <a:schemeClr val="tx2"/>
          </a:solidFill>
          <a:latin typeface="Arial"/>
          <a:ea typeface="+mn-ea"/>
          <a:cs typeface="Arial"/>
        </a:defRPr>
      </a:lvl3pPr>
      <a:lvl4pPr marL="731520" indent="-182880" algn="l" defTabSz="914400" rtl="0" eaLnBrk="1" latinLnBrk="0" hangingPunct="1">
        <a:lnSpc>
          <a:spcPts val="2200"/>
        </a:lnSpc>
        <a:spcBef>
          <a:spcPts val="525"/>
        </a:spcBef>
        <a:buFont typeface="Lucida Grande"/>
        <a:buChar char="»"/>
        <a:defRPr lang="en-US" sz="1800" kern="1200" smtClean="0">
          <a:solidFill>
            <a:schemeClr val="tx2"/>
          </a:solidFill>
          <a:latin typeface="Arial"/>
          <a:ea typeface="+mn-ea"/>
          <a:cs typeface="Arial"/>
        </a:defRPr>
      </a:lvl4pPr>
      <a:lvl5pPr marL="960120" indent="-228600" algn="l" defTabSz="914400" rtl="0" eaLnBrk="1" latinLnBrk="0" hangingPunct="1">
        <a:lnSpc>
          <a:spcPts val="2000"/>
        </a:lnSpc>
        <a:spcBef>
          <a:spcPts val="525"/>
        </a:spcBef>
        <a:buFont typeface="Arial"/>
        <a:buChar char="•"/>
        <a:defRPr lang="en-US" sz="1600" kern="1200">
          <a:solidFill>
            <a:schemeClr val="tx2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>
          <a:extLs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defRPr/>
            </a:pPr>
            <a:r>
              <a:rPr lang="en-US" dirty="0" smtClean="0"/>
              <a:t>Accreditation Summary </a:t>
            </a:r>
            <a:endParaRPr lang="en-US" dirty="0">
              <a:latin typeface="Arial" charset="0"/>
              <a:cs typeface="+mj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©2016 Walgreen </a:t>
            </a:r>
            <a:r>
              <a:rPr lang="en-US" dirty="0"/>
              <a:t>Co. All rights reserved.</a:t>
            </a:r>
          </a:p>
        </p:txBody>
      </p:sp>
      <p:sp>
        <p:nvSpPr>
          <p:cNvPr id="22563" name="Rectangle 37"/>
          <p:cNvSpPr>
            <a:spLocks noChangeArrowheads="1"/>
          </p:cNvSpPr>
          <p:nvPr/>
        </p:nvSpPr>
        <p:spPr bwMode="gray">
          <a:xfrm>
            <a:off x="533400" y="5791200"/>
            <a:ext cx="80772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marL="117475" indent="-117475" algn="l">
              <a:lnSpc>
                <a:spcPct val="100000"/>
              </a:lnSpc>
              <a:buFontTx/>
              <a:buChar char="•"/>
              <a:defRPr/>
            </a:pPr>
            <a:endParaRPr lang="en-US" sz="1200" b="0" dirty="0">
              <a:solidFill>
                <a:srgbClr val="58595B"/>
              </a:solidFill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0973" y="1226849"/>
            <a:ext cx="8505827" cy="2339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None/>
            </a:pPr>
            <a:r>
              <a:rPr lang="en-US" sz="1600" dirty="0" smtClean="0"/>
              <a:t>Key Date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14300" y="4723367"/>
            <a:ext cx="8667749" cy="15250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None/>
            </a:pPr>
            <a:r>
              <a:rPr lang="en-US" sz="1400" dirty="0" smtClean="0"/>
              <a:t>Keys to Success</a:t>
            </a:r>
          </a:p>
          <a:p>
            <a:pPr marL="285750" indent="-285750"/>
            <a:r>
              <a:rPr lang="en-US" sz="1200" dirty="0" smtClean="0"/>
              <a:t>Continue to incorporate the accreditation requirements into our every day operations.</a:t>
            </a:r>
          </a:p>
          <a:p>
            <a:pPr marL="285750" indent="-285750"/>
            <a:r>
              <a:rPr lang="en-US" sz="1200" dirty="0" smtClean="0"/>
              <a:t>Continue to account for the labor associated with quality activities in the stores.</a:t>
            </a:r>
          </a:p>
          <a:p>
            <a:pPr marL="285750" indent="-285750"/>
            <a:r>
              <a:rPr lang="en-US" sz="1200" dirty="0"/>
              <a:t>Walgreens has representation on </a:t>
            </a:r>
            <a:r>
              <a:rPr lang="en-US" sz="1200" dirty="0" smtClean="0"/>
              <a:t>association </a:t>
            </a:r>
            <a:r>
              <a:rPr lang="en-US" sz="1200" dirty="0"/>
              <a:t>and accreditation advisory </a:t>
            </a:r>
            <a:r>
              <a:rPr lang="en-US" sz="1200" dirty="0" smtClean="0"/>
              <a:t>panels.  We need to continue </a:t>
            </a:r>
            <a:r>
              <a:rPr lang="en-US" sz="1200" dirty="0"/>
              <a:t>to push for </a:t>
            </a:r>
            <a:r>
              <a:rPr lang="en-US" sz="1200" dirty="0" smtClean="0"/>
              <a:t>consistency of the requirements. </a:t>
            </a:r>
          </a:p>
          <a:p>
            <a:pPr>
              <a:buNone/>
            </a:pPr>
            <a:endParaRPr lang="en-US" sz="1200" dirty="0" smtClean="0"/>
          </a:p>
        </p:txBody>
      </p:sp>
      <p:graphicFrame>
        <p:nvGraphicFramePr>
          <p:cNvPr id="8" name="Group 1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5576409"/>
              </p:ext>
            </p:extLst>
          </p:nvPr>
        </p:nvGraphicFramePr>
        <p:xfrm>
          <a:off x="114300" y="1472237"/>
          <a:ext cx="8572500" cy="3224089"/>
        </p:xfrm>
        <a:graphic>
          <a:graphicData uri="http://schemas.openxmlformats.org/drawingml/2006/table">
            <a:tbl>
              <a:tblPr/>
              <a:tblGrid>
                <a:gridCol w="1426438"/>
                <a:gridCol w="1236534"/>
                <a:gridCol w="1236534"/>
                <a:gridCol w="1167757"/>
                <a:gridCol w="1184089"/>
                <a:gridCol w="1146003"/>
                <a:gridCol w="1175145"/>
              </a:tblGrid>
              <a:tr h="341989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A0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-65" charset="-128"/>
                        </a:rPr>
                        <a:t>Q1-4 2015</a:t>
                      </a: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A0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-65" charset="-128"/>
                        </a:rPr>
                        <a:t>Q1 2016</a:t>
                      </a: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A0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-65" charset="-128"/>
                        </a:rPr>
                        <a:t>Q2 2016</a:t>
                      </a: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A0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-65" charset="-128"/>
                        </a:rPr>
                        <a:t>Q3 2016</a:t>
                      </a: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A0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-65" charset="-128"/>
                        </a:rPr>
                        <a:t>Q4 2016</a:t>
                      </a: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A0D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-65" charset="-128"/>
                        </a:rPr>
                        <a:t>Q1 2017</a:t>
                      </a: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6A0D3"/>
                    </a:solidFill>
                  </a:tcPr>
                </a:tc>
              </a:tr>
              <a:tr h="409390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en-US" sz="1000" b="1" dirty="0" smtClean="0"/>
                        <a:t>URAC - Central Specialty </a:t>
                      </a:r>
                      <a:endParaRPr kumimoji="0" 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9"/>
                    </a:solidFill>
                  </a:tcPr>
                </a:tc>
              </a:tr>
              <a:tr h="409390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1000" b="1" dirty="0" smtClean="0"/>
                        <a:t>URAC - Local Specialty </a:t>
                      </a: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4"/>
                    </a:solidFill>
                  </a:tcPr>
                </a:tc>
              </a:tr>
              <a:tr h="569632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1000" b="1" dirty="0" smtClean="0"/>
                        <a:t>VIPPS - Mail Service, E-Comm &amp; Central Specialty</a:t>
                      </a: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9"/>
                    </a:solidFill>
                  </a:tcPr>
                </a:tc>
              </a:tr>
              <a:tr h="409390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1000" b="1" dirty="0" smtClean="0"/>
                        <a:t>ACHC - Central Specialty locations</a:t>
                      </a: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4"/>
                    </a:solidFill>
                  </a:tcPr>
                </a:tc>
              </a:tr>
              <a:tr h="409390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en-US" sz="1000" b="1" dirty="0" smtClean="0"/>
                        <a:t>VPP - Central Pharmacy Pittsburgh</a:t>
                      </a:r>
                      <a:endParaRPr kumimoji="0" 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BE9"/>
                    </a:solidFill>
                  </a:tcPr>
                </a:tc>
              </a:tr>
              <a:tr h="569632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en-US" sz="1000" b="1" dirty="0" smtClean="0"/>
                        <a:t>URAC 3.0 standards – Central and Local specialty</a:t>
                      </a:r>
                      <a:endParaRPr kumimoji="0" 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-65" charset="-128"/>
                      </a:endParaRPr>
                    </a:p>
                  </a:txBody>
                  <a:tcPr marL="80331" marR="80331" marT="40163" marB="40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EF4"/>
                    </a:solidFill>
                  </a:tcPr>
                </a:tc>
              </a:tr>
            </a:tbl>
          </a:graphicData>
        </a:graphic>
      </p:graphicFrame>
      <p:sp>
        <p:nvSpPr>
          <p:cNvPr id="3" name="Right Arrow 2"/>
          <p:cNvSpPr/>
          <p:nvPr/>
        </p:nvSpPr>
        <p:spPr>
          <a:xfrm>
            <a:off x="1571625" y="1828799"/>
            <a:ext cx="2457449" cy="314325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900" dirty="0" smtClean="0"/>
          </a:p>
        </p:txBody>
      </p:sp>
      <p:sp>
        <p:nvSpPr>
          <p:cNvPr id="11" name="Right Arrow 10"/>
          <p:cNvSpPr/>
          <p:nvPr/>
        </p:nvSpPr>
        <p:spPr>
          <a:xfrm>
            <a:off x="1571625" y="2300286"/>
            <a:ext cx="3562350" cy="314325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900" dirty="0" smtClean="0"/>
          </a:p>
        </p:txBody>
      </p:sp>
      <p:sp>
        <p:nvSpPr>
          <p:cNvPr id="13" name="Right Arrow 12"/>
          <p:cNvSpPr/>
          <p:nvPr/>
        </p:nvSpPr>
        <p:spPr>
          <a:xfrm>
            <a:off x="5210174" y="2300286"/>
            <a:ext cx="1133474" cy="333371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000" dirty="0" smtClean="0"/>
              <a:t>Desk Review</a:t>
            </a:r>
          </a:p>
        </p:txBody>
      </p:sp>
      <p:sp>
        <p:nvSpPr>
          <p:cNvPr id="14" name="Right Arrow 13"/>
          <p:cNvSpPr/>
          <p:nvPr/>
        </p:nvSpPr>
        <p:spPr>
          <a:xfrm>
            <a:off x="7505697" y="4114799"/>
            <a:ext cx="1104903" cy="314325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900" dirty="0" smtClean="0"/>
          </a:p>
        </p:txBody>
      </p:sp>
      <p:sp>
        <p:nvSpPr>
          <p:cNvPr id="15" name="Right Arrow 14"/>
          <p:cNvSpPr/>
          <p:nvPr/>
        </p:nvSpPr>
        <p:spPr>
          <a:xfrm>
            <a:off x="6410325" y="3667124"/>
            <a:ext cx="1085849" cy="314325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900" dirty="0" smtClean="0"/>
          </a:p>
        </p:txBody>
      </p:sp>
      <p:sp>
        <p:nvSpPr>
          <p:cNvPr id="16" name="Right Arrow 15"/>
          <p:cNvSpPr/>
          <p:nvPr/>
        </p:nvSpPr>
        <p:spPr>
          <a:xfrm>
            <a:off x="4057648" y="3257549"/>
            <a:ext cx="3438526" cy="314325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900" dirty="0" smtClean="0"/>
          </a:p>
        </p:txBody>
      </p:sp>
      <p:sp>
        <p:nvSpPr>
          <p:cNvPr id="17" name="Right Arrow 16"/>
          <p:cNvSpPr/>
          <p:nvPr/>
        </p:nvSpPr>
        <p:spPr>
          <a:xfrm>
            <a:off x="1571625" y="2752724"/>
            <a:ext cx="5924549" cy="314325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900" dirty="0" smtClean="0"/>
          </a:p>
        </p:txBody>
      </p:sp>
      <p:sp>
        <p:nvSpPr>
          <p:cNvPr id="18" name="Right Arrow 17"/>
          <p:cNvSpPr/>
          <p:nvPr/>
        </p:nvSpPr>
        <p:spPr>
          <a:xfrm>
            <a:off x="6410325" y="2300286"/>
            <a:ext cx="1095372" cy="333371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000" dirty="0" smtClean="0"/>
              <a:t>Site Audits</a:t>
            </a:r>
          </a:p>
        </p:txBody>
      </p:sp>
      <p:sp>
        <p:nvSpPr>
          <p:cNvPr id="20" name="Right Arrow 19"/>
          <p:cNvSpPr/>
          <p:nvPr/>
        </p:nvSpPr>
        <p:spPr>
          <a:xfrm>
            <a:off x="7515228" y="2300286"/>
            <a:ext cx="1095372" cy="347653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buNone/>
            </a:pPr>
            <a:r>
              <a:rPr lang="en-US" sz="1000" dirty="0" smtClean="0"/>
              <a:t>Accredit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H1j65W4USsVoNEOgZo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gVyjVzuUyDjfusWlBu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U1VqG.JESppXZwI.yHCA"/>
</p:tagLst>
</file>

<file path=ppt/theme/theme1.xml><?xml version="1.0" encoding="utf-8"?>
<a:theme xmlns:a="http://schemas.openxmlformats.org/drawingml/2006/main" name="1_Walgreens Theme">
  <a:themeElements>
    <a:clrScheme name="Walgreens H&amp;H Theme">
      <a:dk1>
        <a:srgbClr val="000000"/>
      </a:dk1>
      <a:lt1>
        <a:srgbClr val="FFFFFF"/>
      </a:lt1>
      <a:dk2>
        <a:srgbClr val="58595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C9D3A"/>
      </a:accent4>
      <a:accent5>
        <a:srgbClr val="B890C2"/>
      </a:accent5>
      <a:accent6>
        <a:srgbClr val="75C7B9"/>
      </a:accent6>
      <a:hlink>
        <a:srgbClr val="70CDE3"/>
      </a:hlink>
      <a:folHlink>
        <a:srgbClr val="6A73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2.xml><?xml version="1.0" encoding="utf-8"?>
<a:theme xmlns:a="http://schemas.openxmlformats.org/drawingml/2006/main" name="2_Walgreens Theme">
  <a:themeElements>
    <a:clrScheme name="HappyHealthyColor">
      <a:dk1>
        <a:srgbClr val="000000"/>
      </a:dk1>
      <a:lt1>
        <a:srgbClr val="FFFFFF"/>
      </a:lt1>
      <a:dk2>
        <a:srgbClr val="6A737B"/>
      </a:dk2>
      <a:lt2>
        <a:srgbClr val="E1E5E8"/>
      </a:lt2>
      <a:accent1>
        <a:srgbClr val="56A0D3"/>
      </a:accent1>
      <a:accent2>
        <a:srgbClr val="7AC143"/>
      </a:accent2>
      <a:accent3>
        <a:srgbClr val="E31837"/>
      </a:accent3>
      <a:accent4>
        <a:srgbClr val="FC9D3A"/>
      </a:accent4>
      <a:accent5>
        <a:srgbClr val="B890C2"/>
      </a:accent5>
      <a:accent6>
        <a:srgbClr val="75C7B9"/>
      </a:accent6>
      <a:hlink>
        <a:srgbClr val="70CDE3"/>
      </a:hlink>
      <a:folHlink>
        <a:srgbClr val="6A737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900"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>
        <a:ln w="38100" cap="rnd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smtClean="0"/>
        </a:defPPr>
      </a:lstStyle>
    </a:txDef>
  </a:objectDefaults>
  <a:extraClrSchemeLst/>
  <a:custClrLst>
    <a:custClr name="Secondary 9">
      <a:srgbClr val="D3CAC5"/>
    </a:custClr>
    <a:custClr name="Secondary 10">
      <a:srgbClr val="857776"/>
    </a:custClr>
    <a:custClr name="Secondary 11">
      <a:srgbClr val="A69A8E"/>
    </a:custClr>
    <a:custClr name="Secondary 12">
      <a:srgbClr val="584528"/>
    </a:custClr>
    <a:custClr name="Secondary 13">
      <a:srgbClr val="EAD57D"/>
    </a:custClr>
    <a:custClr name="Secondary 14">
      <a:srgbClr val="CCC62C"/>
    </a:custClr>
    <a:custClr name="Secondary 15">
      <a:srgbClr val="A8CC96"/>
    </a:custClr>
    <a:custClr name="Secondary 16">
      <a:srgbClr val="ABACAD"/>
    </a:custClr>
    <a:custClr name="Secondary 17">
      <a:srgbClr val="9DBCB0"/>
    </a:custClr>
    <a:custClr name="Secondary 18">
      <a:srgbClr val="7D9AAA"/>
    </a:custClr>
    <a:custClr name="Secondary 19">
      <a:srgbClr val="7A82AA"/>
    </a:custClr>
    <a:custClr name="Secondary 20">
      <a:srgbClr val="475284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899</TotalTime>
  <Words>117</Words>
  <Application>Microsoft Office PowerPoint</Application>
  <PresentationFormat>On-screen Show (4:3)</PresentationFormat>
  <Paragraphs>23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1_Walgreens Theme</vt:lpstr>
      <vt:lpstr>2_Walgreens Theme</vt:lpstr>
      <vt:lpstr>think-cell Slide</vt:lpstr>
      <vt:lpstr>Accreditation Summary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Justin Coyle</cp:lastModifiedBy>
  <cp:revision>461</cp:revision>
  <cp:lastPrinted>2016-05-12T17:08:45Z</cp:lastPrinted>
  <dcterms:created xsi:type="dcterms:W3CDTF">2012-10-04T18:34:14Z</dcterms:created>
  <dcterms:modified xsi:type="dcterms:W3CDTF">2016-06-07T15:59:32Z</dcterms:modified>
</cp:coreProperties>
</file>